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526825" r:id="rId1"/>
    <p:sldMasterId id="2147527238" r:id="rId2"/>
  </p:sldMasterIdLst>
  <p:notesMasterIdLst>
    <p:notesMasterId r:id="rId23"/>
  </p:notesMasterIdLst>
  <p:sldIdLst>
    <p:sldId id="1554" r:id="rId3"/>
    <p:sldId id="1535" r:id="rId4"/>
    <p:sldId id="1549" r:id="rId5"/>
    <p:sldId id="1550" r:id="rId6"/>
    <p:sldId id="1490" r:id="rId7"/>
    <p:sldId id="1523" r:id="rId8"/>
    <p:sldId id="1524" r:id="rId9"/>
    <p:sldId id="1560" r:id="rId10"/>
    <p:sldId id="1548" r:id="rId11"/>
    <p:sldId id="1528" r:id="rId12"/>
    <p:sldId id="1542" r:id="rId13"/>
    <p:sldId id="1557" r:id="rId14"/>
    <p:sldId id="1558" r:id="rId15"/>
    <p:sldId id="1559" r:id="rId16"/>
    <p:sldId id="1614" r:id="rId17"/>
    <p:sldId id="1615" r:id="rId18"/>
    <p:sldId id="1616" r:id="rId19"/>
    <p:sldId id="1617" r:id="rId20"/>
    <p:sldId id="1618" r:id="rId21"/>
    <p:sldId id="1555" r:id="rId22"/>
  </p:sldIdLst>
  <p:sldSz cx="12195175" cy="6859588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5" userDrawn="1">
          <p15:clr>
            <a:srgbClr val="A4A3A4"/>
          </p15:clr>
        </p15:guide>
        <p15:guide id="2" pos="384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Автор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D71921"/>
    <a:srgbClr val="FFC100"/>
    <a:srgbClr val="FFCF00"/>
    <a:srgbClr val="FFFFCC"/>
    <a:srgbClr val="FFFF81"/>
    <a:srgbClr val="FFCC00"/>
    <a:srgbClr val="B0AC00"/>
    <a:srgbClr val="960000"/>
    <a:srgbClr val="F5F6D9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3574" autoAdjust="0"/>
    <p:restoredTop sz="95646" autoAdjust="0"/>
  </p:normalViewPr>
  <p:slideViewPr>
    <p:cSldViewPr showGuides="1">
      <p:cViewPr varScale="1">
        <p:scale>
          <a:sx n="118" d="100"/>
          <a:sy n="118" d="100"/>
        </p:scale>
        <p:origin x="296" y="192"/>
      </p:cViewPr>
      <p:guideLst>
        <p:guide orient="horz" pos="3975"/>
        <p:guide pos="38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4771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458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noProof="0"/>
              <a:t>Образец текста</a:t>
            </a:r>
          </a:p>
          <a:p>
            <a:pPr lvl="1"/>
            <a:r>
              <a:rPr lang="ru-RU" altLang="ru-RU" noProof="0"/>
              <a:t>Второй уровень</a:t>
            </a:r>
          </a:p>
          <a:p>
            <a:pPr lvl="2"/>
            <a:r>
              <a:rPr lang="ru-RU" altLang="ru-RU" noProof="0"/>
              <a:t>Третий уровень</a:t>
            </a:r>
          </a:p>
          <a:p>
            <a:pPr lvl="3"/>
            <a:r>
              <a:rPr lang="ru-RU" altLang="ru-RU" noProof="0"/>
              <a:t>Четвертый уровень</a:t>
            </a:r>
          </a:p>
          <a:p>
            <a:pPr lvl="4"/>
            <a:r>
              <a:rPr lang="ru-RU" altLang="ru-RU" noProof="0"/>
              <a:t>Пятый уровень</a:t>
            </a:r>
          </a:p>
        </p:txBody>
      </p:sp>
      <p:sp>
        <p:nvSpPr>
          <p:cNvPr id="2458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8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7179AC66-C47A-4850-98A1-5E60515D899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8354910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обрый</a:t>
            </a:r>
            <a:r>
              <a:rPr lang="ru-RU" baseline="0" dirty="0"/>
              <a:t> день, коллеги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90E10A-8071-4CF6-9931-34C96C66F917}" type="slidenum">
              <a:rPr lang="ru-RU" altLang="ru-RU" smtClean="0"/>
              <a:pPr>
                <a:defRPr/>
              </a:pPr>
              <a:t>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597521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0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1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3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4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5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6254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40702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7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238354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96819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19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9168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490E10A-8071-4CF6-9931-34C96C66F917}" type="slidenum">
              <a:rPr lang="ru-RU" altLang="ru-RU" smtClean="0"/>
              <a:pPr>
                <a:defRPr/>
              </a:pPr>
              <a:t>20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334297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3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4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5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6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7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8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350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ln/>
        </p:spPr>
      </p:sp>
      <p:sp>
        <p:nvSpPr>
          <p:cNvPr id="53350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altLang="ru-RU" dirty="0"/>
          </a:p>
        </p:txBody>
      </p:sp>
      <p:sp>
        <p:nvSpPr>
          <p:cNvPr id="5335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5E3F2E0-20C3-4FC6-9575-7E6780C10F1D}" type="slidenum">
              <a:rPr lang="ru-RU" altLang="ru-RU" smtClean="0">
                <a:solidFill>
                  <a:srgbClr val="000000"/>
                </a:solidFill>
              </a:rPr>
              <a:pPr/>
              <a:t>9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7298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978" y="1122539"/>
            <a:ext cx="9147221" cy="2387917"/>
          </a:xfrm>
        </p:spPr>
        <p:txBody>
          <a:bodyPr anchor="b"/>
          <a:lstStyle>
            <a:lvl1pPr algn="ctr"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3978" y="3602880"/>
            <a:ext cx="9147221" cy="1656922"/>
          </a:xfrm>
        </p:spPr>
        <p:txBody>
          <a:bodyPr/>
          <a:lstStyle>
            <a:lvl1pPr marL="0" indent="0" algn="ctr">
              <a:buNone/>
              <a:defRPr sz="2540"/>
            </a:lvl1pPr>
            <a:lvl2pPr marL="483900" indent="0" algn="ctr">
              <a:buNone/>
              <a:defRPr sz="2117"/>
            </a:lvl2pPr>
            <a:lvl3pPr marL="967801" indent="0" algn="ctr">
              <a:buNone/>
              <a:defRPr sz="1905"/>
            </a:lvl3pPr>
            <a:lvl4pPr marL="1451701" indent="0" algn="ctr">
              <a:buNone/>
              <a:defRPr sz="1693"/>
            </a:lvl4pPr>
            <a:lvl5pPr marL="1935602" indent="0" algn="ctr">
              <a:buNone/>
              <a:defRPr sz="1693"/>
            </a:lvl5pPr>
            <a:lvl6pPr marL="2419502" indent="0" algn="ctr">
              <a:buNone/>
              <a:defRPr sz="1693"/>
            </a:lvl6pPr>
            <a:lvl7pPr marL="2903403" indent="0" algn="ctr">
              <a:buNone/>
              <a:defRPr sz="1693"/>
            </a:lvl7pPr>
            <a:lvl8pPr marL="3387303" indent="0" algn="ctr">
              <a:buNone/>
              <a:defRPr sz="1693"/>
            </a:lvl8pPr>
            <a:lvl9pPr marL="3871204" indent="0" algn="ctr">
              <a:buNone/>
              <a:defRPr sz="1693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50041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0973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967437" y="114271"/>
            <a:ext cx="2893372" cy="475566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87322" y="114271"/>
            <a:ext cx="8518812" cy="475566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23747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87321" y="114271"/>
            <a:ext cx="11573487" cy="475566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625574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8109" y="114271"/>
            <a:ext cx="9412699" cy="108220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87321" y="1700614"/>
            <a:ext cx="11573487" cy="31693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46697298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 userDrawn="1"/>
        </p:nvSpPr>
        <p:spPr bwMode="auto">
          <a:xfrm>
            <a:off x="1365606" y="331865"/>
            <a:ext cx="6097588" cy="71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78" tIns="54439" rIns="108878" bIns="54439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5000"/>
              </a:lnSpc>
              <a:defRPr/>
            </a:pPr>
            <a:r>
              <a:rPr lang="ru-RU" altLang="ru-RU" sz="2300" b="1" dirty="0">
                <a:solidFill>
                  <a:srgbClr val="FFFFFF"/>
                </a:solidFill>
              </a:rPr>
              <a:t>1С:УПРАВЛЕНИЕ</a:t>
            </a:r>
          </a:p>
          <a:p>
            <a:pPr eaLnBrk="1" hangingPunct="1">
              <a:lnSpc>
                <a:spcPct val="85000"/>
              </a:lnSpc>
              <a:defRPr/>
            </a:pPr>
            <a:r>
              <a:rPr lang="ru-RU" altLang="ru-RU" sz="2300" b="1" dirty="0">
                <a:solidFill>
                  <a:srgbClr val="FFFFFF"/>
                </a:solidFill>
              </a:rPr>
              <a:t>ХОЛДИНГОМ 8</a:t>
            </a:r>
          </a:p>
        </p:txBody>
      </p:sp>
      <p:pic>
        <p:nvPicPr>
          <p:cNvPr id="3" name="Picture 16" descr="Layer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668" y="239769"/>
            <a:ext cx="1295737" cy="765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67206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397" y="1122623"/>
            <a:ext cx="9146381" cy="2388153"/>
          </a:xfrm>
        </p:spPr>
        <p:txBody>
          <a:bodyPr anchor="b"/>
          <a:lstStyle>
            <a:lvl1pPr algn="ctr">
              <a:defRPr sz="600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397" y="3602872"/>
            <a:ext cx="9146381" cy="165614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91" indent="0" algn="ctr">
              <a:buNone/>
              <a:defRPr sz="2000"/>
            </a:lvl2pPr>
            <a:lvl3pPr marL="914583" indent="0" algn="ctr">
              <a:buNone/>
              <a:defRPr sz="1800"/>
            </a:lvl3pPr>
            <a:lvl4pPr marL="1371874" indent="0" algn="ctr">
              <a:buNone/>
              <a:defRPr sz="1600"/>
            </a:lvl4pPr>
            <a:lvl5pPr marL="1829166" indent="0" algn="ctr">
              <a:buNone/>
              <a:defRPr sz="1600"/>
            </a:lvl5pPr>
            <a:lvl6pPr marL="2286457" indent="0" algn="ctr">
              <a:buNone/>
              <a:defRPr sz="1600"/>
            </a:lvl6pPr>
            <a:lvl7pPr marL="2743749" indent="0" algn="ctr">
              <a:buNone/>
              <a:defRPr sz="1600"/>
            </a:lvl7pPr>
            <a:lvl8pPr marL="3201040" indent="0" algn="ctr">
              <a:buNone/>
              <a:defRPr sz="1600"/>
            </a:lvl8pPr>
            <a:lvl9pPr marL="3658332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4216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17067" y="45418"/>
            <a:ext cx="9939690" cy="1325870"/>
          </a:xfrm>
        </p:spPr>
        <p:txBody>
          <a:bodyPr/>
          <a:lstStyle>
            <a:lvl1pPr>
              <a:defRPr sz="2000" b="1">
                <a:solidFill>
                  <a:schemeClr val="bg1">
                    <a:lumMod val="50000"/>
                  </a:schemeClr>
                </a:solidFill>
                <a:latin typeface="Proxima Nova Lt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5943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2067" y="1710134"/>
            <a:ext cx="10518338" cy="2853398"/>
          </a:xfrm>
        </p:spPr>
        <p:txBody>
          <a:bodyPr anchor="b"/>
          <a:lstStyle>
            <a:lvl1pPr>
              <a:defRPr sz="600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2067" y="4590526"/>
            <a:ext cx="10518338" cy="1500534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91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58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8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91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4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74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10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83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19914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418" y="1826048"/>
            <a:ext cx="5182949" cy="435234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3808" y="1826048"/>
            <a:ext cx="5182949" cy="435234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9347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365210"/>
            <a:ext cx="10518338" cy="132587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0007" y="1681552"/>
            <a:ext cx="5159130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0007" y="2505655"/>
            <a:ext cx="5159130" cy="3685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3807" y="1681552"/>
            <a:ext cx="5184538" cy="82410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91" indent="0">
              <a:buNone/>
              <a:defRPr sz="2000" b="1"/>
            </a:lvl2pPr>
            <a:lvl3pPr marL="914583" indent="0">
              <a:buNone/>
              <a:defRPr sz="1800" b="1"/>
            </a:lvl3pPr>
            <a:lvl4pPr marL="1371874" indent="0">
              <a:buNone/>
              <a:defRPr sz="1600" b="1"/>
            </a:lvl4pPr>
            <a:lvl5pPr marL="1829166" indent="0">
              <a:buNone/>
              <a:defRPr sz="1600" b="1"/>
            </a:lvl5pPr>
            <a:lvl6pPr marL="2286457" indent="0">
              <a:buNone/>
              <a:defRPr sz="1600" b="1"/>
            </a:lvl6pPr>
            <a:lvl7pPr marL="2743749" indent="0">
              <a:buNone/>
              <a:defRPr sz="1600" b="1"/>
            </a:lvl7pPr>
            <a:lvl8pPr marL="3201040" indent="0">
              <a:buNone/>
              <a:defRPr sz="1600" b="1"/>
            </a:lvl8pPr>
            <a:lvl9pPr marL="3658332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3807" y="2505655"/>
            <a:ext cx="5184538" cy="3685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8661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6357199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0892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4363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4538" y="987654"/>
            <a:ext cx="6173807" cy="4874754"/>
          </a:xfrm>
        </p:spPr>
        <p:txBody>
          <a:bodyPr/>
          <a:lstStyle>
            <a:lvl1pPr>
              <a:defRPr sz="3201"/>
            </a:lvl1pPr>
            <a:lvl2pPr>
              <a:defRPr sz="2801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4031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0007" y="457306"/>
            <a:ext cx="3933261" cy="1600571"/>
          </a:xfrm>
        </p:spPr>
        <p:txBody>
          <a:bodyPr anchor="b"/>
          <a:lstStyle>
            <a:lvl1pPr>
              <a:defRPr sz="3201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4538" y="987654"/>
            <a:ext cx="6173807" cy="4874754"/>
          </a:xfrm>
        </p:spPr>
        <p:txBody>
          <a:bodyPr anchor="t"/>
          <a:lstStyle>
            <a:lvl1pPr marL="0" indent="0">
              <a:buNone/>
              <a:defRPr sz="3201"/>
            </a:lvl1pPr>
            <a:lvl2pPr marL="457291" indent="0">
              <a:buNone/>
              <a:defRPr sz="2801"/>
            </a:lvl2pPr>
            <a:lvl3pPr marL="914583" indent="0">
              <a:buNone/>
              <a:defRPr sz="2400"/>
            </a:lvl3pPr>
            <a:lvl4pPr marL="1371874" indent="0">
              <a:buNone/>
              <a:defRPr sz="2000"/>
            </a:lvl4pPr>
            <a:lvl5pPr marL="1829166" indent="0">
              <a:buNone/>
              <a:defRPr sz="2000"/>
            </a:lvl5pPr>
            <a:lvl6pPr marL="2286457" indent="0">
              <a:buNone/>
              <a:defRPr sz="2000"/>
            </a:lvl6pPr>
            <a:lvl7pPr marL="2743749" indent="0">
              <a:buNone/>
              <a:defRPr sz="2000"/>
            </a:lvl7pPr>
            <a:lvl8pPr marL="3201040" indent="0">
              <a:buNone/>
              <a:defRPr sz="2000"/>
            </a:lvl8pPr>
            <a:lvl9pPr marL="3658332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0007" y="2057876"/>
            <a:ext cx="3933261" cy="3812471"/>
          </a:xfrm>
        </p:spPr>
        <p:txBody>
          <a:bodyPr/>
          <a:lstStyle>
            <a:lvl1pPr marL="0" indent="0">
              <a:buNone/>
              <a:defRPr sz="1600"/>
            </a:lvl1pPr>
            <a:lvl2pPr marL="457291" indent="0">
              <a:buNone/>
              <a:defRPr sz="1400"/>
            </a:lvl2pPr>
            <a:lvl3pPr marL="914583" indent="0">
              <a:buNone/>
              <a:defRPr sz="1200"/>
            </a:lvl3pPr>
            <a:lvl4pPr marL="1371874" indent="0">
              <a:buNone/>
              <a:defRPr sz="1000"/>
            </a:lvl4pPr>
            <a:lvl5pPr marL="1829166" indent="0">
              <a:buNone/>
              <a:defRPr sz="1000"/>
            </a:lvl5pPr>
            <a:lvl6pPr marL="2286457" indent="0">
              <a:buNone/>
              <a:defRPr sz="1000"/>
            </a:lvl6pPr>
            <a:lvl7pPr marL="2743749" indent="0">
              <a:buNone/>
              <a:defRPr sz="1000"/>
            </a:lvl7pPr>
            <a:lvl8pPr marL="3201040" indent="0">
              <a:buNone/>
              <a:defRPr sz="1000"/>
            </a:lvl8pPr>
            <a:lvl9pPr marL="3658332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66921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85635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7172" y="365209"/>
            <a:ext cx="2629585" cy="581318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418" y="365209"/>
            <a:ext cx="7736314" cy="581318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530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 userDrawn="1"/>
        </p:nvSpPr>
        <p:spPr bwMode="auto">
          <a:xfrm>
            <a:off x="1365606" y="331865"/>
            <a:ext cx="6097588" cy="7116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878" tIns="54439" rIns="108878" bIns="54439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5000"/>
              </a:lnSpc>
              <a:defRPr/>
            </a:pPr>
            <a:r>
              <a:rPr lang="ru-RU" altLang="ru-RU" sz="2300" b="1" dirty="0">
                <a:solidFill>
                  <a:srgbClr val="FFFFFF"/>
                </a:solidFill>
              </a:rPr>
              <a:t>1С:УПРАВЛЕНИЕ</a:t>
            </a:r>
          </a:p>
          <a:p>
            <a:pPr eaLnBrk="1" hangingPunct="1">
              <a:lnSpc>
                <a:spcPct val="85000"/>
              </a:lnSpc>
              <a:defRPr/>
            </a:pPr>
            <a:r>
              <a:rPr lang="ru-RU" altLang="ru-RU" sz="2300" b="1" dirty="0">
                <a:solidFill>
                  <a:srgbClr val="FFFFFF"/>
                </a:solidFill>
              </a:rPr>
              <a:t>ХОЛДИНГОМ 8</a:t>
            </a:r>
          </a:p>
        </p:txBody>
      </p:sp>
      <p:pic>
        <p:nvPicPr>
          <p:cNvPr id="3" name="Picture 16" descr="Layer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668" y="239769"/>
            <a:ext cx="1295737" cy="7653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522205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719" y="1710697"/>
            <a:ext cx="10518296" cy="2853400"/>
          </a:xfrm>
        </p:spPr>
        <p:txBody>
          <a:bodyPr anchor="b"/>
          <a:lstStyle>
            <a:lvl1pPr>
              <a:defRPr sz="635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719" y="4590984"/>
            <a:ext cx="10518296" cy="1500640"/>
          </a:xfrm>
        </p:spPr>
        <p:txBody>
          <a:bodyPr/>
          <a:lstStyle>
            <a:lvl1pPr marL="0" indent="0">
              <a:buNone/>
              <a:defRPr sz="2540"/>
            </a:lvl1pPr>
            <a:lvl2pPr marL="483900" indent="0">
              <a:buNone/>
              <a:defRPr sz="2117"/>
            </a:lvl2pPr>
            <a:lvl3pPr marL="967801" indent="0">
              <a:buNone/>
              <a:defRPr sz="1905"/>
            </a:lvl3pPr>
            <a:lvl4pPr marL="1451701" indent="0">
              <a:buNone/>
              <a:defRPr sz="1693"/>
            </a:lvl4pPr>
            <a:lvl5pPr marL="1935602" indent="0">
              <a:buNone/>
              <a:defRPr sz="1693"/>
            </a:lvl5pPr>
            <a:lvl6pPr marL="2419502" indent="0">
              <a:buNone/>
              <a:defRPr sz="1693"/>
            </a:lvl6pPr>
            <a:lvl7pPr marL="2903403" indent="0">
              <a:buNone/>
              <a:defRPr sz="1693"/>
            </a:lvl7pPr>
            <a:lvl8pPr marL="3387303" indent="0">
              <a:buNone/>
              <a:defRPr sz="1693"/>
            </a:lvl8pPr>
            <a:lvl9pPr marL="3871204" indent="0">
              <a:buNone/>
              <a:defRPr sz="169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310226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7321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54716" y="1700614"/>
            <a:ext cx="5706092" cy="31693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81376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364658"/>
            <a:ext cx="10518296" cy="132587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40120" y="1682130"/>
            <a:ext cx="5158334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40120" y="2505549"/>
            <a:ext cx="5158334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3199" y="1682130"/>
            <a:ext cx="5185218" cy="823419"/>
          </a:xfrm>
        </p:spPr>
        <p:txBody>
          <a:bodyPr anchor="b"/>
          <a:lstStyle>
            <a:lvl1pPr marL="0" indent="0">
              <a:buNone/>
              <a:defRPr sz="2540" b="1"/>
            </a:lvl1pPr>
            <a:lvl2pPr marL="483900" indent="0">
              <a:buNone/>
              <a:defRPr sz="2117" b="1"/>
            </a:lvl2pPr>
            <a:lvl3pPr marL="967801" indent="0">
              <a:buNone/>
              <a:defRPr sz="1905" b="1"/>
            </a:lvl3pPr>
            <a:lvl4pPr marL="1451701" indent="0">
              <a:buNone/>
              <a:defRPr sz="1693" b="1"/>
            </a:lvl4pPr>
            <a:lvl5pPr marL="1935602" indent="0">
              <a:buNone/>
              <a:defRPr sz="1693" b="1"/>
            </a:lvl5pPr>
            <a:lvl6pPr marL="2419502" indent="0">
              <a:buNone/>
              <a:defRPr sz="1693" b="1"/>
            </a:lvl6pPr>
            <a:lvl7pPr marL="2903403" indent="0">
              <a:buNone/>
              <a:defRPr sz="1693" b="1"/>
            </a:lvl7pPr>
            <a:lvl8pPr marL="3387303" indent="0">
              <a:buNone/>
              <a:defRPr sz="1693" b="1"/>
            </a:lvl8pPr>
            <a:lvl9pPr marL="3871204" indent="0">
              <a:buNone/>
              <a:defRPr sz="1693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3199" y="2505549"/>
            <a:ext cx="5185218" cy="368522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84405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07714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62845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>
              <a:defRPr sz="3387"/>
            </a:lvl1pPr>
            <a:lvl2pPr>
              <a:defRPr sz="2964"/>
            </a:lvl2pPr>
            <a:lvl3pPr>
              <a:defRPr sz="2540"/>
            </a:lvl3pPr>
            <a:lvl4pPr>
              <a:defRPr sz="2117"/>
            </a:lvl4pPr>
            <a:lvl5pPr>
              <a:defRPr sz="2117"/>
            </a:lvl5pPr>
            <a:lvl6pPr>
              <a:defRPr sz="2117"/>
            </a:lvl6pPr>
            <a:lvl7pPr>
              <a:defRPr sz="2117"/>
            </a:lvl7pPr>
            <a:lvl8pPr>
              <a:defRPr sz="2117"/>
            </a:lvl8pPr>
            <a:lvl9pPr>
              <a:defRPr sz="211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063200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0120" y="457082"/>
            <a:ext cx="3933440" cy="1601467"/>
          </a:xfrm>
        </p:spPr>
        <p:txBody>
          <a:bodyPr anchor="b"/>
          <a:lstStyle>
            <a:lvl1pPr>
              <a:defRPr sz="338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5218" y="988103"/>
            <a:ext cx="6173198" cy="4874980"/>
          </a:xfrm>
        </p:spPr>
        <p:txBody>
          <a:bodyPr/>
          <a:lstStyle>
            <a:lvl1pPr marL="0" indent="0">
              <a:buNone/>
              <a:defRPr sz="3387"/>
            </a:lvl1pPr>
            <a:lvl2pPr marL="483900" indent="0">
              <a:buNone/>
              <a:defRPr sz="2964"/>
            </a:lvl2pPr>
            <a:lvl3pPr marL="967801" indent="0">
              <a:buNone/>
              <a:defRPr sz="2540"/>
            </a:lvl3pPr>
            <a:lvl4pPr marL="1451701" indent="0">
              <a:buNone/>
              <a:defRPr sz="2117"/>
            </a:lvl4pPr>
            <a:lvl5pPr marL="1935602" indent="0">
              <a:buNone/>
              <a:defRPr sz="2117"/>
            </a:lvl5pPr>
            <a:lvl6pPr marL="2419502" indent="0">
              <a:buNone/>
              <a:defRPr sz="2117"/>
            </a:lvl6pPr>
            <a:lvl7pPr marL="2903403" indent="0">
              <a:buNone/>
              <a:defRPr sz="2117"/>
            </a:lvl7pPr>
            <a:lvl8pPr marL="3387303" indent="0">
              <a:buNone/>
              <a:defRPr sz="2117"/>
            </a:lvl8pPr>
            <a:lvl9pPr marL="3871204" indent="0">
              <a:buNone/>
              <a:defRPr sz="2117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40120" y="2058549"/>
            <a:ext cx="3933440" cy="3811256"/>
          </a:xfrm>
        </p:spPr>
        <p:txBody>
          <a:bodyPr/>
          <a:lstStyle>
            <a:lvl1pPr marL="0" indent="0">
              <a:buNone/>
              <a:defRPr sz="1693"/>
            </a:lvl1pPr>
            <a:lvl2pPr marL="483900" indent="0">
              <a:buNone/>
              <a:defRPr sz="1482"/>
            </a:lvl2pPr>
            <a:lvl3pPr marL="967801" indent="0">
              <a:buNone/>
              <a:defRPr sz="1270"/>
            </a:lvl3pPr>
            <a:lvl4pPr marL="1451701" indent="0">
              <a:buNone/>
              <a:defRPr sz="1058"/>
            </a:lvl4pPr>
            <a:lvl5pPr marL="1935602" indent="0">
              <a:buNone/>
              <a:defRPr sz="1058"/>
            </a:lvl5pPr>
            <a:lvl6pPr marL="2419502" indent="0">
              <a:buNone/>
              <a:defRPr sz="1058"/>
            </a:lvl6pPr>
            <a:lvl7pPr marL="2903403" indent="0">
              <a:buNone/>
              <a:defRPr sz="1058"/>
            </a:lvl7pPr>
            <a:lvl8pPr marL="3387303" indent="0">
              <a:buNone/>
              <a:defRPr sz="1058"/>
            </a:lvl8pPr>
            <a:lvl9pPr marL="3871204" indent="0">
              <a:buNone/>
              <a:defRPr sz="1058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4856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6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7321" y="1700614"/>
            <a:ext cx="11573487" cy="3169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448109" y="114271"/>
            <a:ext cx="9412699" cy="1082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542" y="161323"/>
            <a:ext cx="1641593" cy="1290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795794" y="-7273"/>
            <a:ext cx="2399381" cy="1851276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540">
              <a:solidFill>
                <a:srgbClr val="000000"/>
              </a:solidFill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540">
              <a:solidFill>
                <a:srgbClr val="000000"/>
              </a:solidFill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540">
              <a:solidFill>
                <a:srgbClr val="0000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75720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26826" r:id="rId1"/>
    <p:sldLayoutId id="2147526827" r:id="rId2"/>
    <p:sldLayoutId id="2147526828" r:id="rId3"/>
    <p:sldLayoutId id="2147526829" r:id="rId4"/>
    <p:sldLayoutId id="2147526830" r:id="rId5"/>
    <p:sldLayoutId id="2147526831" r:id="rId6"/>
    <p:sldLayoutId id="2147526832" r:id="rId7"/>
    <p:sldLayoutId id="2147526833" r:id="rId8"/>
    <p:sldLayoutId id="2147526834" r:id="rId9"/>
    <p:sldLayoutId id="2147526835" r:id="rId10"/>
    <p:sldLayoutId id="2147526836" r:id="rId11"/>
    <p:sldLayoutId id="2147526837" r:id="rId12"/>
    <p:sldLayoutId id="2147526838" r:id="rId13"/>
    <p:sldLayoutId id="2147527317" r:id="rId14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69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5pPr>
      <a:lvl6pPr marL="483900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6pPr>
      <a:lvl7pPr marL="9678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7pPr>
      <a:lvl8pPr marL="1451701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8pPr>
      <a:lvl9pPr marL="1935602" algn="l" rtl="0" eaLnBrk="0" fontAlgn="base" hangingPunct="0">
        <a:spcBef>
          <a:spcPct val="0"/>
        </a:spcBef>
        <a:spcAft>
          <a:spcPct val="0"/>
        </a:spcAft>
        <a:defRPr sz="3069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62925" indent="-362925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223" kern="1200">
          <a:solidFill>
            <a:schemeClr val="tx1"/>
          </a:solidFill>
          <a:latin typeface="+mn-lt"/>
          <a:ea typeface="+mn-ea"/>
          <a:cs typeface="+mn-cs"/>
        </a:defRPr>
      </a:lvl1pPr>
      <a:lvl2pPr marL="786338" indent="-304119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1211432" indent="-24363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93" kern="1200">
          <a:solidFill>
            <a:schemeClr val="tx1"/>
          </a:solidFill>
          <a:latin typeface="+mn-lt"/>
          <a:ea typeface="+mn-ea"/>
          <a:cs typeface="+mn-cs"/>
        </a:defRPr>
      </a:lvl3pPr>
      <a:lvl4pPr marL="1693652" indent="-24195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82" kern="1200">
          <a:solidFill>
            <a:schemeClr val="tx1"/>
          </a:solidFill>
          <a:latin typeface="+mn-lt"/>
          <a:ea typeface="+mn-ea"/>
          <a:cs typeface="+mn-cs"/>
        </a:defRPr>
      </a:lvl4pPr>
      <a:lvl5pPr marL="2175872" indent="-240271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76" kern="1200">
          <a:solidFill>
            <a:schemeClr val="tx1"/>
          </a:solidFill>
          <a:latin typeface="+mn-lt"/>
          <a:ea typeface="+mn-ea"/>
          <a:cs typeface="+mn-cs"/>
        </a:defRPr>
      </a:lvl5pPr>
      <a:lvl6pPr marL="26614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3145353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6292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4113154" indent="-241950" algn="l" defTabSz="967801" rtl="0" eaLnBrk="1" latinLnBrk="0" hangingPunct="1">
        <a:lnSpc>
          <a:spcPct val="90000"/>
        </a:lnSpc>
        <a:spcBef>
          <a:spcPts val="529"/>
        </a:spcBef>
        <a:buFont typeface="Arial" panose="020B0604020202020204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83900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678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356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419502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9034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87303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71204" algn="l" defTabSz="967801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76375" y="87700"/>
            <a:ext cx="9880382" cy="132587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419" y="1826048"/>
            <a:ext cx="10518338" cy="435234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418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12/21/23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9652" y="6357822"/>
            <a:ext cx="4115872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2843" y="6357822"/>
            <a:ext cx="2743914" cy="36521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Rectangle 30"/>
          <p:cNvSpPr>
            <a:spLocks noChangeArrowheads="1"/>
          </p:cNvSpPr>
          <p:nvPr userDrawn="1"/>
        </p:nvSpPr>
        <p:spPr bwMode="auto">
          <a:xfrm>
            <a:off x="1" y="3735370"/>
            <a:ext cx="181822" cy="3715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prstClr val="black"/>
              </a:solidFill>
            </a:endParaRPr>
          </a:p>
        </p:txBody>
      </p:sp>
      <p:sp>
        <p:nvSpPr>
          <p:cNvPr id="8" name="Text Box 4"/>
          <p:cNvSpPr txBox="1">
            <a:spLocks noChangeArrowheads="1"/>
          </p:cNvSpPr>
          <p:nvPr userDrawn="1"/>
        </p:nvSpPr>
        <p:spPr bwMode="auto">
          <a:xfrm>
            <a:off x="10899438" y="6310313"/>
            <a:ext cx="918873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45647A1D-7CAD-4C0D-BF60-D7508C1EC10C}" type="slidenum">
              <a:rPr lang="ru-RU" altLang="ru-RU" sz="1600" b="1" smtClean="0">
                <a:solidFill>
                  <a:srgbClr val="44546A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>
              <a:solidFill>
                <a:srgbClr val="44546A"/>
              </a:solidFill>
            </a:endParaRPr>
          </a:p>
        </p:txBody>
      </p:sp>
      <p:sp>
        <p:nvSpPr>
          <p:cNvPr id="9" name="Rectangle 36"/>
          <p:cNvSpPr>
            <a:spLocks noChangeArrowheads="1"/>
          </p:cNvSpPr>
          <p:nvPr userDrawn="1"/>
        </p:nvSpPr>
        <p:spPr bwMode="auto">
          <a:xfrm>
            <a:off x="1" y="3733782"/>
            <a:ext cx="181822" cy="371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prstClr val="black"/>
              </a:solidFill>
            </a:endParaRPr>
          </a:p>
        </p:txBody>
      </p:sp>
      <p:graphicFrame>
        <p:nvGraphicFramePr>
          <p:cNvPr id="1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118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73554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9966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27239" r:id="rId1"/>
    <p:sldLayoutId id="2147527240" r:id="rId2"/>
    <p:sldLayoutId id="2147527241" r:id="rId3"/>
    <p:sldLayoutId id="2147527242" r:id="rId4"/>
    <p:sldLayoutId id="2147527243" r:id="rId5"/>
    <p:sldLayoutId id="2147527244" r:id="rId6"/>
    <p:sldLayoutId id="2147527245" r:id="rId7"/>
    <p:sldLayoutId id="2147527246" r:id="rId8"/>
    <p:sldLayoutId id="2147527247" r:id="rId9"/>
    <p:sldLayoutId id="2147527248" r:id="rId10"/>
    <p:sldLayoutId id="2147527249" r:id="rId11"/>
    <p:sldLayoutId id="2147527318" r:id="rId12"/>
  </p:sldLayoutIdLst>
  <p:txStyles>
    <p:titleStyle>
      <a:lvl1pPr algn="l" defTabSz="914583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bg1">
              <a:lumMod val="50000"/>
            </a:schemeClr>
          </a:solidFill>
          <a:latin typeface="Proxima Nova Lt"/>
          <a:ea typeface="+mj-ea"/>
          <a:cs typeface="+mj-cs"/>
        </a:defRPr>
      </a:lvl1pPr>
    </p:titleStyle>
    <p:bodyStyle>
      <a:lvl1pPr marL="228646" indent="-228646" algn="l" defTabSz="91458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1pPr>
      <a:lvl2pPr marL="68593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2pPr>
      <a:lvl3pPr marL="1143229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>
              <a:lumMod val="50000"/>
            </a:schemeClr>
          </a:solidFill>
          <a:latin typeface="+mn-lt"/>
          <a:ea typeface="+mn-ea"/>
          <a:cs typeface="+mn-cs"/>
        </a:defRPr>
      </a:lvl3pPr>
      <a:lvl4pPr marL="1600520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811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5103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394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686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977" indent="-228646" algn="l" defTabSz="91458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6385695" y="1386209"/>
            <a:ext cx="5233597" cy="1125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878" tIns="54439" rIns="108878" bIns="54439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buNone/>
            </a:pPr>
            <a:r>
              <a:rPr lang="ru-RU" dirty="0">
                <a:solidFill>
                  <a:schemeClr val="bg1"/>
                </a:solidFill>
              </a:rPr>
              <a:t>Новое в подсистеме «Бюджетирование отчетность и анализ» в редакции 3.2</a:t>
            </a:r>
            <a:endParaRPr lang="ru-RU" alt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73863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акторный анализ и диаграмма </a:t>
            </a:r>
            <a:r>
              <a:rPr lang="en-US" altLang="ru-RU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допад</a:t>
            </a:r>
            <a:r>
              <a:rPr lang="en-US" altLang="ru-RU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endParaRPr lang="ru-RU" altLang="ru-RU" sz="24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9968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931" y="1341562"/>
            <a:ext cx="9713539" cy="54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Прямоугольная выноска 3"/>
          <p:cNvSpPr/>
          <p:nvPr/>
        </p:nvSpPr>
        <p:spPr>
          <a:xfrm>
            <a:off x="6938193" y="2057105"/>
            <a:ext cx="2615778" cy="580601"/>
          </a:xfrm>
          <a:prstGeom prst="wedgeRectCallout">
            <a:avLst>
              <a:gd name="adj1" fmla="val -68198"/>
              <a:gd name="adj2" fmla="val 195569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Факторы можно заполнить руками или подобрать по формулам</a:t>
            </a:r>
          </a:p>
        </p:txBody>
      </p:sp>
      <p:sp>
        <p:nvSpPr>
          <p:cNvPr id="5" name="Прямоугольная выноска 4"/>
          <p:cNvSpPr/>
          <p:nvPr/>
        </p:nvSpPr>
        <p:spPr>
          <a:xfrm>
            <a:off x="1057027" y="2705177"/>
            <a:ext cx="2615778" cy="580601"/>
          </a:xfrm>
          <a:prstGeom prst="wedgeRectCallout">
            <a:avLst>
              <a:gd name="adj1" fmla="val 28371"/>
              <a:gd name="adj2" fmla="val -125321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Выбираем два показателя для анализа</a:t>
            </a:r>
            <a:r>
              <a:rPr lang="en-US" sz="1200" dirty="0">
                <a:solidFill>
                  <a:schemeClr val="tx1"/>
                </a:solidFill>
              </a:rPr>
              <a:t>: </a:t>
            </a:r>
            <a:r>
              <a:rPr lang="ru-RU" sz="1200" dirty="0">
                <a:solidFill>
                  <a:schemeClr val="tx1"/>
                </a:solidFill>
              </a:rPr>
              <a:t>базовый и текущий</a:t>
            </a:r>
          </a:p>
        </p:txBody>
      </p:sp>
      <p:sp>
        <p:nvSpPr>
          <p:cNvPr id="6" name="Прямоугольная выноска 5"/>
          <p:cNvSpPr/>
          <p:nvPr/>
        </p:nvSpPr>
        <p:spPr>
          <a:xfrm>
            <a:off x="8450361" y="4221882"/>
            <a:ext cx="2615778" cy="580601"/>
          </a:xfrm>
          <a:prstGeom prst="wedgeRectCallout">
            <a:avLst>
              <a:gd name="adj1" fmla="val -101844"/>
              <a:gd name="adj2" fmla="val 18391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Интерактивная диаграмма </a:t>
            </a:r>
            <a:r>
              <a:rPr lang="en-US" sz="1200" dirty="0">
                <a:solidFill>
                  <a:schemeClr val="tx1"/>
                </a:solidFill>
              </a:rPr>
              <a:t>“</a:t>
            </a:r>
            <a:r>
              <a:rPr lang="ru-RU" sz="1200" dirty="0">
                <a:solidFill>
                  <a:schemeClr val="tx1"/>
                </a:solidFill>
              </a:rPr>
              <a:t>Водопад</a:t>
            </a:r>
            <a:r>
              <a:rPr lang="en-US" sz="1200" dirty="0">
                <a:solidFill>
                  <a:schemeClr val="tx1"/>
                </a:solidFill>
              </a:rPr>
              <a:t>”</a:t>
            </a:r>
            <a:r>
              <a:rPr lang="ru-RU" sz="1200" dirty="0">
                <a:solidFill>
                  <a:schemeClr val="tx1"/>
                </a:solidFill>
              </a:rPr>
              <a:t>, с возможностью расшифровки</a:t>
            </a:r>
          </a:p>
        </p:txBody>
      </p:sp>
    </p:spTree>
    <p:extLst>
      <p:ext uri="{BB962C8B-B14F-4D97-AF65-F5344CB8AC3E}">
        <p14:creationId xmlns:p14="http://schemas.microsoft.com/office/powerpoint/2010/main" val="41769520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776864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ощенная настройка формул расчета показателей</a:t>
            </a:r>
            <a:endParaRPr lang="ru-RU" altLang="ru-RU" sz="24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EF737FC4-6D68-4F1D-9A70-927C70930EDC}"/>
              </a:ext>
            </a:extLst>
          </p:cNvPr>
          <p:cNvSpPr txBox="1">
            <a:spLocks/>
          </p:cNvSpPr>
          <p:nvPr/>
        </p:nvSpPr>
        <p:spPr>
          <a:xfrm>
            <a:off x="264939" y="1701602"/>
            <a:ext cx="11129903" cy="2520280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 конструкторе формул добавили отдельную панель для быстрого заполнения формул по шаблонам.</a:t>
            </a:r>
          </a:p>
          <a:p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Добавили несколько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пособов быстрой настройки </a:t>
            </a: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формул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бавление формулы по шаблону осуществляется перетаскиванием </a:t>
            </a:r>
          </a:p>
          <a:p>
            <a:pPr marL="0" indent="0">
              <a:buNone/>
            </a:pPr>
            <a:endParaRPr lang="ru-RU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BD85245-91A8-41F3-A210-6D6D867534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6969" y="3213770"/>
            <a:ext cx="8253066" cy="3330679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30963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776864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яемые настройки отборов в операндах</a:t>
            </a:r>
            <a:endParaRPr lang="ru-RU" altLang="ru-RU" sz="24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1F03EF91-132D-4C28-96F1-0DED9D209F9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971" y="2061642"/>
            <a:ext cx="10515600" cy="3240360"/>
          </a:xfrm>
        </p:spPr>
        <p:txBody>
          <a:bodyPr>
            <a:norm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статочно часто в отборах источников данных используются отборы, например, по фиксированному набору элементов справочника,  объединенных каким – то общим признаком, не вынесенным в его реквизит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ри необходимости добавить или удалить элемент из набора настройка производилась везде, где он использовался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явилась возможность сохранять такие наборы (или более сложные настройки отборов) в отдельном справочнике и использовать при необходимости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зменение отбора производится непосредственно в справочнике и автоматически распространяется на все источники, где он используется</a:t>
            </a:r>
          </a:p>
        </p:txBody>
      </p:sp>
    </p:spTree>
    <p:extLst>
      <p:ext uri="{BB962C8B-B14F-4D97-AF65-F5344CB8AC3E}">
        <p14:creationId xmlns:p14="http://schemas.microsoft.com/office/powerpoint/2010/main" val="42479066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776864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блоны источников данных</a:t>
            </a:r>
            <a:endParaRPr lang="ru-RU" altLang="ru-RU" sz="24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EF737FC4-6D68-4F1D-9A70-927C70930EDC}"/>
              </a:ext>
            </a:extLst>
          </p:cNvPr>
          <p:cNvSpPr txBox="1">
            <a:spLocks/>
          </p:cNvSpPr>
          <p:nvPr/>
        </p:nvSpPr>
        <p:spPr>
          <a:xfrm>
            <a:off x="192931" y="1485578"/>
            <a:ext cx="11129903" cy="1368152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явилась возможность сохранять предварительно настроенные шаблоны для их дальнейшего использования при создании источников данных.</a:t>
            </a:r>
          </a:p>
          <a:p>
            <a:r>
              <a:rPr lang="ru-RU" sz="2000" dirty="0"/>
              <a:t>Шаблон может быть создан на основании уже существующего источника.</a:t>
            </a:r>
          </a:p>
          <a:p>
            <a:r>
              <a:rPr lang="ru-RU" sz="2000" dirty="0"/>
              <a:t>Изменения отборов шаблона автоматически распространяются на все источники, созданные на его основании.</a:t>
            </a:r>
          </a:p>
          <a:p>
            <a:endParaRPr lang="ru-RU" sz="2000" dirty="0"/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F4665BAD-7DB2-4A79-81B0-61994DC03B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53371" y="2925738"/>
            <a:ext cx="7704856" cy="3683786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146376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776864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блоны источников данных</a:t>
            </a:r>
            <a:endParaRPr lang="ru-RU" altLang="ru-RU" sz="24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EF737FC4-6D68-4F1D-9A70-927C70930EDC}"/>
              </a:ext>
            </a:extLst>
          </p:cNvPr>
          <p:cNvSpPr txBox="1">
            <a:spLocks/>
          </p:cNvSpPr>
          <p:nvPr/>
        </p:nvSpPr>
        <p:spPr>
          <a:xfrm>
            <a:off x="264939" y="1557586"/>
            <a:ext cx="11129903" cy="1368152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/>
              <a:t>При необходимости настройки шаблона могут быть доопределены в источнике, созданном на его основании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439A2A38-C0E7-491B-A020-4CB5699A60F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51461" y="2349674"/>
            <a:ext cx="7718534" cy="4431395"/>
          </a:xfrm>
          <a:prstGeom prst="rect">
            <a:avLst/>
          </a:prstGeom>
          <a:ln w="3175">
            <a:solidFill>
              <a:schemeClr val="tx1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815204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776864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кеты данных</a:t>
            </a:r>
          </a:p>
        </p:txBody>
      </p:sp>
      <p:sp>
        <p:nvSpPr>
          <p:cNvPr id="5" name="Объект 2">
            <a:extLst>
              <a:ext uri="{FF2B5EF4-FFF2-40B4-BE49-F238E27FC236}">
                <a16:creationId xmlns:a16="http://schemas.microsoft.com/office/drawing/2014/main" id="{DCEE8340-E469-43AC-8630-4986A63FE92B}"/>
              </a:ext>
            </a:extLst>
          </p:cNvPr>
          <p:cNvSpPr txBox="1">
            <a:spLocks/>
          </p:cNvSpPr>
          <p:nvPr/>
        </p:nvSpPr>
        <p:spPr>
          <a:xfrm>
            <a:off x="480963" y="1773610"/>
            <a:ext cx="11129903" cy="3616594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акет данных – это объединение в одну виртуальную таблицу различных источников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казателей отчетов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сточников данных по метаданным текущей ИБ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сточников данных по метаданным внешней ИБ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сточников данных - произвольных запросов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акет данных позволяет объединять в измерения и ресурсы поля из разных источников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ля показателей отчетов текущей ИБ используется быстрая настройка источников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Можно группировать показатели источники по различным признакам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сновная функция пакета данных – универсальный источник данных для аналитических панелей</a:t>
            </a:r>
          </a:p>
          <a:p>
            <a:pPr marL="0" indent="0">
              <a:buNone/>
            </a:pPr>
            <a:endParaRPr lang="ru-RU" b="0" dirty="0"/>
          </a:p>
          <a:p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30486809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776864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кеты данных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2A1A5A9-B661-452F-A4EA-1DD24FB3B3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7107" y="1125538"/>
            <a:ext cx="8205559" cy="5328592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Прямоугольная выноска 8">
            <a:extLst>
              <a:ext uri="{FF2B5EF4-FFF2-40B4-BE49-F238E27FC236}">
                <a16:creationId xmlns:a16="http://schemas.microsoft.com/office/drawing/2014/main" id="{93080FBE-591A-4A9F-9ED9-3E8F0201B175}"/>
              </a:ext>
            </a:extLst>
          </p:cNvPr>
          <p:cNvSpPr/>
          <p:nvPr/>
        </p:nvSpPr>
        <p:spPr>
          <a:xfrm>
            <a:off x="8113810" y="3344788"/>
            <a:ext cx="2592289" cy="373038"/>
          </a:xfrm>
          <a:prstGeom prst="wedgeRectCallout">
            <a:avLst>
              <a:gd name="adj1" fmla="val -88002"/>
              <a:gd name="adj2" fmla="val 219519"/>
            </a:avLst>
          </a:prstGeom>
          <a:solidFill>
            <a:srgbClr val="FFC000">
              <a:alpha val="7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ростая настройка.</a:t>
            </a:r>
          </a:p>
        </p:txBody>
      </p:sp>
    </p:spTree>
    <p:extLst>
      <p:ext uri="{BB962C8B-B14F-4D97-AF65-F5344CB8AC3E}">
        <p14:creationId xmlns:p14="http://schemas.microsoft.com/office/powerpoint/2010/main" val="30450022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776864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акеты данных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9D7AB35-B69A-44D6-A125-1805285336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72525" y="1102830"/>
            <a:ext cx="8213494" cy="527629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Прямоугольная выноска 8">
            <a:extLst>
              <a:ext uri="{FF2B5EF4-FFF2-40B4-BE49-F238E27FC236}">
                <a16:creationId xmlns:a16="http://schemas.microsoft.com/office/drawing/2014/main" id="{376AF937-973D-472C-8F5E-A9BF993AD928}"/>
              </a:ext>
            </a:extLst>
          </p:cNvPr>
          <p:cNvSpPr/>
          <p:nvPr/>
        </p:nvSpPr>
        <p:spPr>
          <a:xfrm>
            <a:off x="7969794" y="3285778"/>
            <a:ext cx="2592289" cy="373038"/>
          </a:xfrm>
          <a:prstGeom prst="wedgeRectCallout">
            <a:avLst>
              <a:gd name="adj1" fmla="val -88002"/>
              <a:gd name="adj2" fmla="val 219519"/>
            </a:avLst>
          </a:prstGeom>
          <a:solidFill>
            <a:srgbClr val="FFC000">
              <a:alpha val="7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Расширенная настройка.</a:t>
            </a:r>
          </a:p>
        </p:txBody>
      </p:sp>
    </p:spTree>
    <p:extLst>
      <p:ext uri="{BB962C8B-B14F-4D97-AF65-F5344CB8AC3E}">
        <p14:creationId xmlns:p14="http://schemas.microsoft.com/office/powerpoint/2010/main" val="37457366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776864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тические панели</a:t>
            </a:r>
          </a:p>
        </p:txBody>
      </p:sp>
      <p:sp>
        <p:nvSpPr>
          <p:cNvPr id="4" name="Объект 2">
            <a:extLst>
              <a:ext uri="{FF2B5EF4-FFF2-40B4-BE49-F238E27FC236}">
                <a16:creationId xmlns:a16="http://schemas.microsoft.com/office/drawing/2014/main" id="{B15B9918-275A-4B60-AF3D-9A73727428D8}"/>
              </a:ext>
            </a:extLst>
          </p:cNvPr>
          <p:cNvSpPr txBox="1">
            <a:spLocks/>
          </p:cNvSpPr>
          <p:nvPr/>
        </p:nvSpPr>
        <p:spPr>
          <a:xfrm>
            <a:off x="480963" y="1917626"/>
            <a:ext cx="11129903" cy="3616594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правочник Аналитические панели предназначен для визуализации пакета данных с помощью различных типов таблиц, диаграмм, индикаторов и произвольных элементов оформления.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Аналитическая панель в качестве источника использует пакет данных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Разработка панели максимально упрощена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Количество элементов, расположенных на панели не ограничено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тличия от предыдущих версий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правочник Аналитические панели больше не собирается из аналитических отчетов.</a:t>
            </a:r>
          </a:p>
          <a:p>
            <a:pPr lvl="1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правочник Аналитические отчеты больше не используется(является частным случаем панели из одного элемента)</a:t>
            </a: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ru-RU" b="0" dirty="0"/>
          </a:p>
          <a:p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72310716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776864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тические панел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5A5640D-1D80-4268-8E5F-91260573C2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1043" y="1125538"/>
            <a:ext cx="9217024" cy="540060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130889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ые функции бюджетирования в УХ 3.2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F737FC4-6D68-4F1D-9A70-927C70930EDC}"/>
              </a:ext>
            </a:extLst>
          </p:cNvPr>
          <p:cNvSpPr txBox="1">
            <a:spLocks/>
          </p:cNvSpPr>
          <p:nvPr/>
        </p:nvSpPr>
        <p:spPr>
          <a:xfrm>
            <a:off x="552971" y="1845618"/>
            <a:ext cx="11129903" cy="3256554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ддержка вывода иерархий аналитик в многопериодном бланке.</a:t>
            </a:r>
            <a:endParaRPr lang="ru-RU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ддержка вывода итогов по периодам в многопериодном бланке.</a:t>
            </a:r>
            <a:endParaRPr lang="ru-RU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Упрощенная настройка импорта фактических данных показателей  бюджетов (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мэппинг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по аналогии с планами счетов) .</a:t>
            </a:r>
            <a:endParaRPr lang="ru-RU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Улучшение импорта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бланков отчетов </a:t>
            </a:r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из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MS Excel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(отказ от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om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Полностью переработанный функционал факторного анализа и моделирования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Шаблоны источников данных и новые функции упрощенного создания формул</a:t>
            </a:r>
            <a:endParaRPr lang="ru-RU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30799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5713445" y="1629178"/>
            <a:ext cx="5820993" cy="556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878" tIns="54439" rIns="108878" bIns="54439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buFont typeface="Wingdings" pitchFamily="2" charset="2"/>
              <a:buNone/>
            </a:pPr>
            <a:r>
              <a:rPr lang="ru-RU" altLang="ru-RU" sz="2900" b="1" dirty="0">
                <a:solidFill>
                  <a:srgbClr val="FFFFFF"/>
                </a:solidFill>
              </a:rPr>
              <a:t>СПАСИБО ЗА ВНИМАНИЕ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6300841" y="2709714"/>
            <a:ext cx="5233597" cy="11256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878" tIns="54439" rIns="108878" bIns="54439">
            <a:spAutoFit/>
          </a:bodyPr>
          <a:lstStyle>
            <a:lvl1pPr eaLnBrk="0" hangingPunct="0"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400">
                <a:solidFill>
                  <a:srgbClr val="5B0917"/>
                </a:solidFill>
                <a:latin typeface="Arial" charset="0"/>
              </a:defRPr>
            </a:lvl9pPr>
          </a:lstStyle>
          <a:p>
            <a:pPr>
              <a:buNone/>
            </a:pPr>
            <a:r>
              <a:rPr lang="ru-RU" dirty="0">
                <a:solidFill>
                  <a:schemeClr val="bg1"/>
                </a:solidFill>
              </a:rPr>
              <a:t>Новое в подсистеме «Бюджетирование отчетность и анализ» в редакции 3.2</a:t>
            </a:r>
            <a:endParaRPr lang="ru-RU" alt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7878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жно</a:t>
            </a:r>
            <a:r>
              <a:rPr lang="en-US" altLang="ru-RU" sz="2400" dirty="0">
                <a:solidFill>
                  <a:srgbClr val="C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!</a:t>
            </a:r>
            <a:r>
              <a:rPr lang="en-US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ланки отчетов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F737FC4-6D68-4F1D-9A70-927C70930EDC}"/>
              </a:ext>
            </a:extLst>
          </p:cNvPr>
          <p:cNvSpPr txBox="1">
            <a:spLocks/>
          </p:cNvSpPr>
          <p:nvPr/>
        </p:nvSpPr>
        <p:spPr>
          <a:xfrm>
            <a:off x="552971" y="1829424"/>
            <a:ext cx="11129903" cy="3256554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 УХ 3.2 остаются только многопериодные бланки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днопериодные бланки будут автоматически сконвертированы в многопериодные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анные не пропадут, так как бланки – это лишь способ отображения информации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нятия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днопериодный – Многопериодный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применительно к бланкам исчезнет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Будут бланки сводных таблиц и бланки экземпляров отчетов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ля конфигураций НМ, БМ остаются только однопериодные бланки.</a:t>
            </a:r>
          </a:p>
          <a:p>
            <a:pPr marL="0" indent="0">
              <a:buNone/>
            </a:pPr>
            <a:endParaRPr lang="ru-RU" b="0" dirty="0"/>
          </a:p>
          <a:p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202591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ддержка иерархического вывода аналитики и периодов бланками экземпляров отчетов</a:t>
            </a:r>
          </a:p>
        </p:txBody>
      </p:sp>
      <p:pic>
        <p:nvPicPr>
          <p:cNvPr id="2048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679" y="1561331"/>
            <a:ext cx="9704332" cy="503681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ая выноска 5"/>
          <p:cNvSpPr/>
          <p:nvPr/>
        </p:nvSpPr>
        <p:spPr>
          <a:xfrm>
            <a:off x="8329835" y="2267089"/>
            <a:ext cx="3617953" cy="3682985"/>
          </a:xfrm>
          <a:prstGeom prst="wedgeRectCallout">
            <a:avLst>
              <a:gd name="adj1" fmla="val -78319"/>
              <a:gd name="adj2" fmla="val -45662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pic>
        <p:nvPicPr>
          <p:cNvPr id="20480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9835" y="2277666"/>
            <a:ext cx="3617953" cy="3665041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ая выноска 8"/>
          <p:cNvSpPr/>
          <p:nvPr/>
        </p:nvSpPr>
        <p:spPr>
          <a:xfrm>
            <a:off x="3937348" y="3992860"/>
            <a:ext cx="3528392" cy="2749302"/>
          </a:xfrm>
          <a:prstGeom prst="wedgeRectCallout">
            <a:avLst>
              <a:gd name="adj1" fmla="val -86418"/>
              <a:gd name="adj2" fmla="val -38178"/>
            </a:avLst>
          </a:prstGeom>
          <a:solidFill>
            <a:schemeClr val="bg1">
              <a:lumMod val="8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pic>
        <p:nvPicPr>
          <p:cNvPr id="20480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7347" y="3713212"/>
            <a:ext cx="3562350" cy="302895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1126306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з данных и моделирование</a:t>
            </a:r>
          </a:p>
        </p:txBody>
      </p:sp>
      <p:sp>
        <p:nvSpPr>
          <p:cNvPr id="6" name="Объект 2">
            <a:extLst>
              <a:ext uri="{FF2B5EF4-FFF2-40B4-BE49-F238E27FC236}">
                <a16:creationId xmlns:a16="http://schemas.microsoft.com/office/drawing/2014/main" id="{EF737FC4-6D68-4F1D-9A70-927C70930EDC}"/>
              </a:ext>
            </a:extLst>
          </p:cNvPr>
          <p:cNvSpPr txBox="1">
            <a:spLocks/>
          </p:cNvSpPr>
          <p:nvPr/>
        </p:nvSpPr>
        <p:spPr>
          <a:xfrm>
            <a:off x="408955" y="1989634"/>
            <a:ext cx="11129903" cy="2520280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водная таблица – новый инструмент факторного анализа и работы с моделями.</a:t>
            </a:r>
            <a:endParaRPr lang="ru-RU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лностью переписан движок  - ушли от экземпляров отчетов, кратно увеличили скорость анализа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бавлена возможность анализа влияния любой аналитики на изменение целевого показателя</a:t>
            </a:r>
          </a:p>
          <a:p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Добавлена возможность факторного анализа методом цепных подстановок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обавлена возможность подбора целевого  значения методом градиентного спуска.</a:t>
            </a:r>
          </a:p>
          <a:p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Добавлена возможность быстрого сохранения и загрузки вариантов анализа и данных моделирования.</a:t>
            </a:r>
          </a:p>
          <a:p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34985658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70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011" y="1197546"/>
            <a:ext cx="9050217" cy="547260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овый интерфейс  для работы с функциями анализа и моделирования</a:t>
            </a:r>
          </a:p>
        </p:txBody>
      </p:sp>
      <p:sp>
        <p:nvSpPr>
          <p:cNvPr id="5" name="Прямоугольная выноска 4"/>
          <p:cNvSpPr/>
          <p:nvPr/>
        </p:nvSpPr>
        <p:spPr>
          <a:xfrm>
            <a:off x="7753771" y="5374010"/>
            <a:ext cx="2615778" cy="603248"/>
          </a:xfrm>
          <a:prstGeom prst="wedgeRectCallout">
            <a:avLst>
              <a:gd name="adj1" fmla="val -87863"/>
              <a:gd name="adj2" fmla="val -6142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Область работы со связанными показателями</a:t>
            </a:r>
          </a:p>
        </p:txBody>
      </p:sp>
      <p:sp>
        <p:nvSpPr>
          <p:cNvPr id="6" name="Прямоугольная выноска 5"/>
          <p:cNvSpPr/>
          <p:nvPr/>
        </p:nvSpPr>
        <p:spPr>
          <a:xfrm>
            <a:off x="6218113" y="3618634"/>
            <a:ext cx="2615778" cy="603248"/>
          </a:xfrm>
          <a:prstGeom prst="wedgeRectCallout">
            <a:avLst>
              <a:gd name="adj1" fmla="val -126752"/>
              <a:gd name="adj2" fmla="val 1102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Варианты анализа и построения моделей</a:t>
            </a:r>
          </a:p>
        </p:txBody>
      </p:sp>
      <p:sp>
        <p:nvSpPr>
          <p:cNvPr id="4" name="Прямоугольная выноска 3"/>
          <p:cNvSpPr/>
          <p:nvPr/>
        </p:nvSpPr>
        <p:spPr>
          <a:xfrm>
            <a:off x="8905899" y="2709714"/>
            <a:ext cx="2615778" cy="603248"/>
          </a:xfrm>
          <a:prstGeom prst="wedgeRectCallout">
            <a:avLst>
              <a:gd name="adj1" fmla="val -87863"/>
              <a:gd name="adj2" fmla="val -6142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Область выбора целевых показателей для анализа</a:t>
            </a:r>
          </a:p>
        </p:txBody>
      </p:sp>
      <p:sp>
        <p:nvSpPr>
          <p:cNvPr id="8" name="Прямоугольная выноска 7"/>
          <p:cNvSpPr/>
          <p:nvPr/>
        </p:nvSpPr>
        <p:spPr>
          <a:xfrm>
            <a:off x="408955" y="2898554"/>
            <a:ext cx="2615778" cy="603248"/>
          </a:xfrm>
          <a:prstGeom prst="wedgeRectCallout">
            <a:avLst>
              <a:gd name="adj1" fmla="val 71192"/>
              <a:gd name="adj2" fmla="val -72792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Выбранный для анализа показатель выделяется иконкой</a:t>
            </a:r>
          </a:p>
        </p:txBody>
      </p:sp>
    </p:spTree>
    <p:extLst>
      <p:ext uri="{BB962C8B-B14F-4D97-AF65-F5344CB8AC3E}">
        <p14:creationId xmlns:p14="http://schemas.microsoft.com/office/powerpoint/2010/main" val="27052962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811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947" y="1413570"/>
            <a:ext cx="10126539" cy="5256584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ализ влияния в виде таблицы</a:t>
            </a:r>
          </a:p>
        </p:txBody>
      </p:sp>
      <p:sp>
        <p:nvSpPr>
          <p:cNvPr id="4" name="Прямоугольная выноска 3"/>
          <p:cNvSpPr/>
          <p:nvPr/>
        </p:nvSpPr>
        <p:spPr>
          <a:xfrm>
            <a:off x="9409955" y="2421682"/>
            <a:ext cx="2615778" cy="603248"/>
          </a:xfrm>
          <a:prstGeom prst="wedgeRectCallout">
            <a:avLst>
              <a:gd name="adj1" fmla="val -132870"/>
              <a:gd name="adj2" fmla="val 44681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оказывает отклонение модели от текущих данных</a:t>
            </a:r>
          </a:p>
        </p:txBody>
      </p:sp>
      <p:sp>
        <p:nvSpPr>
          <p:cNvPr id="6" name="Прямоугольная выноска 5"/>
          <p:cNvSpPr/>
          <p:nvPr/>
        </p:nvSpPr>
        <p:spPr>
          <a:xfrm>
            <a:off x="2761729" y="4005858"/>
            <a:ext cx="2615778" cy="603248"/>
          </a:xfrm>
          <a:prstGeom prst="wedgeRectCallout">
            <a:avLst>
              <a:gd name="adj1" fmla="val -66452"/>
              <a:gd name="adj2" fmla="val -357004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оказатели раскрываются по выбранным аналитикам</a:t>
            </a:r>
          </a:p>
        </p:txBody>
      </p:sp>
      <p:sp>
        <p:nvSpPr>
          <p:cNvPr id="8" name="Прямоугольная выноска 7"/>
          <p:cNvSpPr/>
          <p:nvPr/>
        </p:nvSpPr>
        <p:spPr>
          <a:xfrm>
            <a:off x="3505299" y="1269554"/>
            <a:ext cx="2615778" cy="603248"/>
          </a:xfrm>
          <a:prstGeom prst="wedgeRectCallout">
            <a:avLst>
              <a:gd name="adj1" fmla="val 73377"/>
              <a:gd name="adj2" fmla="val 171629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Вариант моделирования снизу -вверх</a:t>
            </a:r>
          </a:p>
        </p:txBody>
      </p:sp>
      <p:sp>
        <p:nvSpPr>
          <p:cNvPr id="9" name="Прямоугольная выноска 8"/>
          <p:cNvSpPr/>
          <p:nvPr/>
        </p:nvSpPr>
        <p:spPr>
          <a:xfrm>
            <a:off x="9314457" y="5346826"/>
            <a:ext cx="2615778" cy="603248"/>
          </a:xfrm>
          <a:prstGeom prst="wedgeRectCallout">
            <a:avLst>
              <a:gd name="adj1" fmla="val -54653"/>
              <a:gd name="adj2" fmla="val -161846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оказывает коэффициенты влияния каждого фактора на целевой показатель</a:t>
            </a:r>
          </a:p>
        </p:txBody>
      </p:sp>
    </p:spTree>
    <p:extLst>
      <p:ext uri="{BB962C8B-B14F-4D97-AF65-F5344CB8AC3E}">
        <p14:creationId xmlns:p14="http://schemas.microsoft.com/office/powerpoint/2010/main" val="38154829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втоматический подбор целевого значения</a:t>
            </a:r>
          </a:p>
        </p:txBody>
      </p:sp>
      <p:pic>
        <p:nvPicPr>
          <p:cNvPr id="2191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71" y="1494224"/>
            <a:ext cx="10225136" cy="5247938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0" name="Прямоугольная выноска 9"/>
          <p:cNvSpPr/>
          <p:nvPr/>
        </p:nvSpPr>
        <p:spPr>
          <a:xfrm>
            <a:off x="9386465" y="3114578"/>
            <a:ext cx="2615778" cy="603248"/>
          </a:xfrm>
          <a:prstGeom prst="wedgeRectCallout">
            <a:avLst>
              <a:gd name="adj1" fmla="val -23192"/>
              <a:gd name="adj2" fmla="val -29069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Вариант моделирования сверху -вниз</a:t>
            </a:r>
          </a:p>
        </p:txBody>
      </p:sp>
      <p:sp>
        <p:nvSpPr>
          <p:cNvPr id="11" name="Прямоугольная выноска 10"/>
          <p:cNvSpPr/>
          <p:nvPr/>
        </p:nvSpPr>
        <p:spPr>
          <a:xfrm>
            <a:off x="5377507" y="4482730"/>
            <a:ext cx="2808312" cy="819272"/>
          </a:xfrm>
          <a:prstGeom prst="wedgeRectCallout">
            <a:avLst>
              <a:gd name="adj1" fmla="val 46723"/>
              <a:gd name="adj2" fmla="val -286900"/>
            </a:avLst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Подбирает значения выбранных факторов в заданных границах для получения указанного целевого значения</a:t>
            </a:r>
          </a:p>
        </p:txBody>
      </p:sp>
    </p:spTree>
    <p:extLst>
      <p:ext uri="{BB962C8B-B14F-4D97-AF65-F5344CB8AC3E}">
        <p14:creationId xmlns:p14="http://schemas.microsoft.com/office/powerpoint/2010/main" val="4709308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Rectangle 2"/>
          <p:cNvSpPr>
            <a:spLocks noGrp="1" noChangeArrowheads="1"/>
          </p:cNvSpPr>
          <p:nvPr>
            <p:ph type="title"/>
          </p:nvPr>
        </p:nvSpPr>
        <p:spPr>
          <a:xfrm>
            <a:off x="1777107" y="294772"/>
            <a:ext cx="7272808" cy="90277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 defTabSz="914583" eaLnBrk="1" hangingPunct="1">
              <a:lnSpc>
                <a:spcPct val="90000"/>
              </a:lnSpc>
            </a:pP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акторный анализ и диаграмма </a:t>
            </a:r>
            <a:r>
              <a:rPr lang="en-US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  <a:r>
              <a:rPr lang="ru-RU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допад</a:t>
            </a:r>
            <a:r>
              <a:rPr lang="en-US" altLang="ru-RU" sz="24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</a:t>
            </a:r>
            <a:endParaRPr lang="ru-RU" altLang="ru-RU" sz="240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Объект 2">
            <a:extLst>
              <a:ext uri="{FF2B5EF4-FFF2-40B4-BE49-F238E27FC236}">
                <a16:creationId xmlns:a16="http://schemas.microsoft.com/office/drawing/2014/main" id="{EF737FC4-6D68-4F1D-9A70-927C70930EDC}"/>
              </a:ext>
            </a:extLst>
          </p:cNvPr>
          <p:cNvSpPr txBox="1">
            <a:spLocks/>
          </p:cNvSpPr>
          <p:nvPr/>
        </p:nvSpPr>
        <p:spPr>
          <a:xfrm>
            <a:off x="408955" y="1845618"/>
            <a:ext cx="11129903" cy="2520280"/>
          </a:xfrm>
          <a:prstGeom prst="rect">
            <a:avLst/>
          </a:prstGeom>
        </p:spPr>
        <p:txBody>
          <a:bodyPr lIns="96780" tIns="48390" rIns="96780" bIns="48390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733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4588" indent="-2301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5813" indent="-2270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Факторный анализ выполняется методом цепных подстановок.</a:t>
            </a:r>
          </a:p>
          <a:p>
            <a:r>
              <a:rPr lang="ru-RU" sz="2000" b="0" dirty="0">
                <a:latin typeface="Arial" panose="020B0604020202020204" pitchFamily="34" charset="0"/>
                <a:cs typeface="Arial" panose="020B0604020202020204" pitchFamily="34" charset="0"/>
              </a:rPr>
              <a:t>Позволяет оценивать как влияние показателей, для которых заданы формулы, так и влияние показателей значения которых пересчитываются кодом.</a:t>
            </a: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Автоматически определяет знак влияния факторов (увеличение дохода – это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, увеличение расходов – это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зволяет оценивать влияние отдельных аналити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97749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6_Оформление по умолчанию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73</Words>
  <Application>Microsoft Macintosh PowerPoint</Application>
  <PresentationFormat>Произвольный</PresentationFormat>
  <Paragraphs>109</Paragraphs>
  <Slides>20</Slides>
  <Notes>2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9" baseType="lpstr">
      <vt:lpstr>Proxima Nova Lt</vt:lpstr>
      <vt:lpstr>Arial</vt:lpstr>
      <vt:lpstr>Calibri</vt:lpstr>
      <vt:lpstr>Futura PT Demi</vt:lpstr>
      <vt:lpstr>Times New Roman</vt:lpstr>
      <vt:lpstr>Wingdings</vt:lpstr>
      <vt:lpstr>5_Специальное оформление</vt:lpstr>
      <vt:lpstr>36_Оформление по умолчанию</vt:lpstr>
      <vt:lpstr>think-cell Slide</vt:lpstr>
      <vt:lpstr>Презентация PowerPoint</vt:lpstr>
      <vt:lpstr>Новые функции бюджетирования в УХ 3.2</vt:lpstr>
      <vt:lpstr>Важно! Бланки отчетов</vt:lpstr>
      <vt:lpstr>Поддержка иерархического вывода аналитики и периодов бланками экземпляров отчетов</vt:lpstr>
      <vt:lpstr>Анализ данных и моделирование</vt:lpstr>
      <vt:lpstr>Новый интерфейс  для работы с функциями анализа и моделирования</vt:lpstr>
      <vt:lpstr>Анализ влияния в виде таблицы</vt:lpstr>
      <vt:lpstr>Автоматический подбор целевого значения</vt:lpstr>
      <vt:lpstr>Факторный анализ и диаграмма “водопад”</vt:lpstr>
      <vt:lpstr>Факторный анализ и диаграмма “водопад”</vt:lpstr>
      <vt:lpstr>Упрощенная настройка формул расчета показателей</vt:lpstr>
      <vt:lpstr>Сохраняемые настройки отборов в операндах</vt:lpstr>
      <vt:lpstr>Шаблоны источников данных</vt:lpstr>
      <vt:lpstr>Шаблоны источников данных</vt:lpstr>
      <vt:lpstr>Пакеты данных</vt:lpstr>
      <vt:lpstr>Пакеты данных</vt:lpstr>
      <vt:lpstr>Пакеты данных</vt:lpstr>
      <vt:lpstr>Аналитические панели</vt:lpstr>
      <vt:lpstr>Аналитические панели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2-08T09:59:48Z</dcterms:created>
  <dcterms:modified xsi:type="dcterms:W3CDTF">2023-12-21T20:32:08Z</dcterms:modified>
</cp:coreProperties>
</file>